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10693400" cy="7556500"/>
  <p:notesSz cx="6858000" cy="9144000"/>
  <p:embeddedFontLst>
    <p:embeddedFont>
      <p:font typeface="Sora" pitchFamily="2" charset="0"/>
      <p:regular r:id="rId3"/>
      <p:bold r:id="rId4"/>
    </p:embeddedFont>
    <p:embeddedFont>
      <p:font typeface="Sora Light" pitchFamily="2" charset="0"/>
      <p:regular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4135"/>
    <a:srgbClr val="6A2D2F"/>
    <a:srgbClr val="EBEFD4"/>
    <a:srgbClr val="1370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39" autoAdjust="0"/>
    <p:restoredTop sz="94622" autoAdjust="0"/>
  </p:normalViewPr>
  <p:slideViewPr>
    <p:cSldViewPr>
      <p:cViewPr>
        <p:scale>
          <a:sx n="100" d="100"/>
          <a:sy n="100" d="100"/>
        </p:scale>
        <p:origin x="87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15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Event #2">
            <a:extLst>
              <a:ext uri="{FF2B5EF4-FFF2-40B4-BE49-F238E27FC236}">
                <a16:creationId xmlns:a16="http://schemas.microsoft.com/office/drawing/2014/main" id="{79053271-195A-2684-E32A-E6D7AB99C2D1}"/>
              </a:ext>
            </a:extLst>
          </p:cNvPr>
          <p:cNvGrpSpPr/>
          <p:nvPr/>
        </p:nvGrpSpPr>
        <p:grpSpPr>
          <a:xfrm>
            <a:off x="-158188" y="-267200"/>
            <a:ext cx="11100780" cy="8052195"/>
            <a:chOff x="-158188" y="-267200"/>
            <a:chExt cx="11100780" cy="8052195"/>
          </a:xfrm>
        </p:grpSpPr>
        <p:sp>
          <p:nvSpPr>
            <p:cNvPr id="2" name="Image Background"/>
            <p:cNvSpPr/>
            <p:nvPr/>
          </p:nvSpPr>
          <p:spPr>
            <a:xfrm rot="5400000">
              <a:off x="1566000" y="-1566000"/>
              <a:ext cx="7560000" cy="10692000"/>
            </a:xfrm>
            <a:custGeom>
              <a:avLst/>
              <a:gdLst/>
              <a:ahLst/>
              <a:cxnLst/>
              <a:rect l="l" t="t" r="r" b="b"/>
              <a:pathLst>
                <a:path w="7560000" h="10692000">
                  <a:moveTo>
                    <a:pt x="0" y="0"/>
                  </a:moveTo>
                  <a:lnTo>
                    <a:pt x="7560000" y="0"/>
                  </a:lnTo>
                  <a:lnTo>
                    <a:pt x="7560000" y="10692000"/>
                  </a:lnTo>
                  <a:lnTo>
                    <a:pt x="0" y="10692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50000"/>
              </a:blip>
              <a:stretch>
                <a:fillRect l="-70784" r="-41491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26C328D-37EF-78E3-E4B7-63619FA81B5F}"/>
                </a:ext>
              </a:extLst>
            </p:cNvPr>
            <p:cNvGrpSpPr/>
            <p:nvPr/>
          </p:nvGrpSpPr>
          <p:grpSpPr>
            <a:xfrm>
              <a:off x="-158188" y="-267200"/>
              <a:ext cx="11100780" cy="8052195"/>
              <a:chOff x="-158188" y="-267200"/>
              <a:chExt cx="11100780" cy="8052195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6320841" y="0"/>
                <a:ext cx="4371159" cy="4357253"/>
              </a:xfrm>
              <a:custGeom>
                <a:avLst/>
                <a:gdLst/>
                <a:ahLst/>
                <a:cxnLst/>
                <a:rect l="l" t="t" r="r" b="b"/>
                <a:pathLst>
                  <a:path w="9842002" h="9842002">
                    <a:moveTo>
                      <a:pt x="0" y="0"/>
                    </a:moveTo>
                    <a:lnTo>
                      <a:pt x="9842002" y="0"/>
                    </a:lnTo>
                    <a:lnTo>
                      <a:pt x="9842002" y="9842002"/>
                    </a:lnTo>
                    <a:lnTo>
                      <a:pt x="0" y="984200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8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t="-69408" r="-6886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F598A8F-1298-DC8E-F394-A5AB82C3BA84}"/>
                  </a:ext>
                </a:extLst>
              </p:cNvPr>
              <p:cNvSpPr/>
              <p:nvPr/>
            </p:nvSpPr>
            <p:spPr>
              <a:xfrm rot="4441584">
                <a:off x="8669914" y="-208636"/>
                <a:ext cx="2331242" cy="2214114"/>
              </a:xfrm>
              <a:custGeom>
                <a:avLst/>
                <a:gdLst>
                  <a:gd name="connsiteX0" fmla="*/ 507731 w 2331242"/>
                  <a:gd name="connsiteY0" fmla="*/ 0 h 2214114"/>
                  <a:gd name="connsiteX1" fmla="*/ 2279116 w 2331242"/>
                  <a:gd name="connsiteY1" fmla="*/ 507054 h 2214114"/>
                  <a:gd name="connsiteX2" fmla="*/ 2304015 w 2331242"/>
                  <a:gd name="connsiteY2" fmla="*/ 603893 h 2214114"/>
                  <a:gd name="connsiteX3" fmla="*/ 2331242 w 2331242"/>
                  <a:gd name="connsiteY3" fmla="*/ 873977 h 2214114"/>
                  <a:gd name="connsiteX4" fmla="*/ 991106 w 2331242"/>
                  <a:gd name="connsiteY4" fmla="*/ 2214114 h 2214114"/>
                  <a:gd name="connsiteX5" fmla="*/ 43485 w 2331242"/>
                  <a:gd name="connsiteY5" fmla="*/ 1821597 h 2214114"/>
                  <a:gd name="connsiteX6" fmla="*/ 0 w 2331242"/>
                  <a:gd name="connsiteY6" fmla="*/ 1773752 h 2214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31242" h="2214114">
                    <a:moveTo>
                      <a:pt x="507731" y="0"/>
                    </a:moveTo>
                    <a:lnTo>
                      <a:pt x="2279116" y="507054"/>
                    </a:lnTo>
                    <a:lnTo>
                      <a:pt x="2304015" y="603893"/>
                    </a:lnTo>
                    <a:cubicBezTo>
                      <a:pt x="2321867" y="691132"/>
                      <a:pt x="2331242" y="781460"/>
                      <a:pt x="2331242" y="873977"/>
                    </a:cubicBezTo>
                    <a:cubicBezTo>
                      <a:pt x="2331242" y="1614116"/>
                      <a:pt x="1731244" y="2214114"/>
                      <a:pt x="991106" y="2214114"/>
                    </a:cubicBezTo>
                    <a:cubicBezTo>
                      <a:pt x="621036" y="2214114"/>
                      <a:pt x="286002" y="2064114"/>
                      <a:pt x="43485" y="1821597"/>
                    </a:cubicBezTo>
                    <a:lnTo>
                      <a:pt x="0" y="1773752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38100" cap="sq">
                <a:gradFill>
                  <a:gsLst>
                    <a:gs pos="0">
                      <a:srgbClr val="D56363">
                        <a:alpha val="40000"/>
                      </a:srgbClr>
                    </a:gs>
                    <a:gs pos="100000">
                      <a:srgbClr val="F7F7F7">
                        <a:alpha val="40000"/>
                      </a:srgbClr>
                    </a:gs>
                  </a:gsLst>
                  <a:lin ang="0"/>
                </a:gradFill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0" y="4099379"/>
                <a:ext cx="3690750" cy="3457121"/>
              </a:xfrm>
              <a:custGeom>
                <a:avLst/>
                <a:gdLst/>
                <a:ahLst/>
                <a:cxnLst/>
                <a:rect l="l" t="t" r="r" b="b"/>
                <a:pathLst>
                  <a:path w="9842002" h="9842002">
                    <a:moveTo>
                      <a:pt x="0" y="0"/>
                    </a:moveTo>
                    <a:lnTo>
                      <a:pt x="9842002" y="0"/>
                    </a:lnTo>
                    <a:lnTo>
                      <a:pt x="9842002" y="9842002"/>
                    </a:lnTo>
                    <a:lnTo>
                      <a:pt x="0" y="984200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8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l="-100000" b="-113516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4A25677-B013-D1A9-158E-4095630B81B4}"/>
                  </a:ext>
                </a:extLst>
              </p:cNvPr>
              <p:cNvSpPr/>
              <p:nvPr/>
            </p:nvSpPr>
            <p:spPr>
              <a:xfrm rot="4441584">
                <a:off x="-228846" y="6398618"/>
                <a:ext cx="1457035" cy="1315720"/>
              </a:xfrm>
              <a:custGeom>
                <a:avLst/>
                <a:gdLst>
                  <a:gd name="connsiteX0" fmla="*/ 16449 w 1457035"/>
                  <a:gd name="connsiteY0" fmla="*/ 941620 h 1315720"/>
                  <a:gd name="connsiteX1" fmla="*/ 1296336 w 1457035"/>
                  <a:gd name="connsiteY1" fmla="*/ 0 h 1315720"/>
                  <a:gd name="connsiteX2" fmla="*/ 1433358 w 1457035"/>
                  <a:gd name="connsiteY2" fmla="*/ 6919 h 1315720"/>
                  <a:gd name="connsiteX3" fmla="*/ 1457035 w 1457035"/>
                  <a:gd name="connsiteY3" fmla="*/ 10533 h 1315720"/>
                  <a:gd name="connsiteX4" fmla="*/ 1083429 w 1457035"/>
                  <a:gd name="connsiteY4" fmla="*/ 1315720 h 1315720"/>
                  <a:gd name="connsiteX5" fmla="*/ 0 w 1457035"/>
                  <a:gd name="connsiteY5" fmla="*/ 1005592 h 131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7035" h="1315720">
                    <a:moveTo>
                      <a:pt x="16449" y="941620"/>
                    </a:moveTo>
                    <a:cubicBezTo>
                      <a:pt x="186125" y="396092"/>
                      <a:pt x="694973" y="0"/>
                      <a:pt x="1296336" y="0"/>
                    </a:cubicBezTo>
                    <a:cubicBezTo>
                      <a:pt x="1342595" y="0"/>
                      <a:pt x="1388306" y="2344"/>
                      <a:pt x="1433358" y="6919"/>
                    </a:cubicBezTo>
                    <a:lnTo>
                      <a:pt x="1457035" y="10533"/>
                    </a:lnTo>
                    <a:lnTo>
                      <a:pt x="1083429" y="1315720"/>
                    </a:lnTo>
                    <a:lnTo>
                      <a:pt x="0" y="1005592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38100" cap="sq">
                <a:gradFill>
                  <a:gsLst>
                    <a:gs pos="0">
                      <a:srgbClr val="D56363">
                        <a:alpha val="40000"/>
                      </a:srgbClr>
                    </a:gs>
                    <a:gs pos="100000">
                      <a:srgbClr val="F7F7F7">
                        <a:alpha val="40000"/>
                      </a:srgbClr>
                    </a:gs>
                  </a:gsLst>
                  <a:lin ang="0"/>
                </a:gradFill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6B44CE6-CC33-5720-44F0-AE6A6FA21AF6}"/>
                </a:ext>
              </a:extLst>
            </p:cNvPr>
            <p:cNvGrpSpPr/>
            <p:nvPr/>
          </p:nvGrpSpPr>
          <p:grpSpPr>
            <a:xfrm>
              <a:off x="374637" y="647452"/>
              <a:ext cx="9813186" cy="6556182"/>
              <a:chOff x="374637" y="647452"/>
              <a:chExt cx="9813186" cy="6556182"/>
            </a:xfrm>
          </p:grpSpPr>
          <p:sp>
            <p:nvSpPr>
              <p:cNvPr id="15" name="TextBox 15"/>
              <p:cNvSpPr txBox="1"/>
              <p:nvPr/>
            </p:nvSpPr>
            <p:spPr>
              <a:xfrm>
                <a:off x="374637" y="659081"/>
                <a:ext cx="4399824" cy="18469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12002" b="1" spc="-480" dirty="0">
                    <a:solidFill>
                      <a:srgbClr val="FFFFFF"/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Event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481891" y="647452"/>
                <a:ext cx="2963797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spcBef>
                    <a:spcPct val="0"/>
                  </a:spcBef>
                </a:pPr>
                <a:r>
                  <a:rPr lang="en-US" sz="1200" spc="-30" dirty="0">
                    <a:solidFill>
                      <a:srgbClr val="FFFFFF"/>
                    </a:solidFill>
                    <a:latin typeface="Sora Light"/>
                    <a:ea typeface="Sora Light"/>
                    <a:cs typeface="Sora Light"/>
                    <a:sym typeface="Sora Light"/>
                  </a:rPr>
                  <a:t>SIGN UP SHEET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513339" y="7080523"/>
                <a:ext cx="3802771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/>
                <a:r>
                  <a:rPr lang="en-US" sz="800" b="1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Co-working Spaces | </a:t>
                </a:r>
                <a:r>
                  <a:rPr lang="en-US" sz="80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24th Floor, 78 Riverview Lane, Oceanview, OV 45012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8166100" y="7080523"/>
                <a:ext cx="2021723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/>
                <a:r>
                  <a:rPr lang="en-US" sz="80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Email | </a:t>
                </a:r>
                <a:r>
                  <a:rPr lang="en-US" sz="800" b="1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Coworkingspaces@gmail.com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5493445" y="7080523"/>
                <a:ext cx="1495321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Hotline |</a:t>
                </a:r>
                <a:r>
                  <a:rPr lang="en-US" sz="800" b="1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 (555) 123-9876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5346000" y="1421887"/>
                <a:ext cx="2883792" cy="5509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3580" b="1" spc="-179" dirty="0">
                    <a:solidFill>
                      <a:srgbClr val="FFFFFF">
                        <a:alpha val="89804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25-27 NOV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5800290" y="1969918"/>
                <a:ext cx="2376951" cy="13356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868" b="1" spc="-43" dirty="0">
                    <a:solidFill>
                      <a:srgbClr val="FFFFFF">
                        <a:alpha val="89804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CO-WORKING SPACES</a:t>
                </a:r>
                <a:r>
                  <a:rPr lang="en-US" sz="868" spc="-43" dirty="0">
                    <a:solidFill>
                      <a:srgbClr val="FFFFFF">
                        <a:alpha val="89804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 | 03:00 PM - 9:00 PM</a:t>
                </a:r>
              </a:p>
            </p:txBody>
          </p:sp>
        </p:grpSp>
        <p:sp>
          <p:nvSpPr>
            <p:cNvPr id="14" name="QuickSignup"/>
            <p:cNvSpPr/>
            <p:nvPr/>
          </p:nvSpPr>
          <p:spPr>
            <a:xfrm rot="5400000">
              <a:off x="10051205" y="6583374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4"/>
                  </a:lnTo>
                  <a:lnTo>
                    <a:pt x="0" y="1332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alphaModFix amt="80000"/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13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391707"/>
              </p:ext>
            </p:extLst>
          </p:nvPr>
        </p:nvGraphicFramePr>
        <p:xfrm>
          <a:off x="504177" y="2699976"/>
          <a:ext cx="9683645" cy="4280460"/>
        </p:xfrm>
        <a:graphic>
          <a:graphicData uri="http://schemas.openxmlformats.org/drawingml/2006/table">
            <a:tbl>
              <a:tblPr/>
              <a:tblGrid>
                <a:gridCol w="1936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6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6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67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367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b="1" spc="-24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Full Name</a:t>
                      </a:r>
                      <a:endParaRPr lang="en-US" sz="110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4C4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b="1" spc="-24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hone</a:t>
                      </a:r>
                      <a:endParaRPr lang="en-US" sz="110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4C4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b="1" spc="-24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Email</a:t>
                      </a:r>
                      <a:endParaRPr lang="en-US" sz="110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4C4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b="1" spc="-24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Role/Contribution</a:t>
                      </a:r>
                      <a:endParaRPr lang="en-US" sz="110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4C4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defRPr/>
                      </a:pPr>
                      <a:r>
                        <a:rPr lang="en-US" sz="800" b="1" spc="-24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Special Requirements</a:t>
                      </a:r>
                      <a:endParaRPr lang="en-US" sz="110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B94C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4C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9"/>
                        </a:lnSpc>
                        <a:defRPr/>
                      </a:pPr>
                      <a:endParaRPr lang="en-US" sz="800" dirty="0">
                        <a:solidFill>
                          <a:srgbClr val="A34135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987" cap="flat" cmpd="sng" algn="ctr">
                      <a:solidFill>
                        <a:srgbClr val="D8C5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50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ora Light</vt:lpstr>
      <vt:lpstr>Calibri</vt:lpstr>
      <vt:lpstr>Sora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ference Room, Event, PTO (Landscape)</dc:title>
  <dc:creator>Hoang Anh</dc:creator>
  <cp:lastModifiedBy>Hoang Anh</cp:lastModifiedBy>
  <cp:revision>23</cp:revision>
  <dcterms:created xsi:type="dcterms:W3CDTF">2006-08-16T00:00:00Z</dcterms:created>
  <dcterms:modified xsi:type="dcterms:W3CDTF">2024-10-18T17:15:29Z</dcterms:modified>
  <dc:identifier>DAGTmoY0EZs</dc:identifier>
</cp:coreProperties>
</file>